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3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5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77348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38747-4367-4BD2-8D51-C97E202738E2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307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>
            <a:extLst>
              <a:ext uri="{FF2B5EF4-FFF2-40B4-BE49-F238E27FC236}">
                <a16:creationId xmlns:a16="http://schemas.microsoft.com/office/drawing/2014/main" id="{CE39118B-B3AD-4BD4-BA22-DEFF4E76CE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247728"/>
            <a:ext cx="10353762" cy="543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1B079-7EF0-44EE-B798-BCC497C9F3B2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216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F70A8-1D13-4657-95F0-A9EA54967B8D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94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B90AC-71BD-4C7F-8ACA-7B3F18292E63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3F0D53-0705-41B7-8554-09D21E7807F9}"/>
              </a:ext>
            </a:extLst>
          </p:cNvPr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F647CD-0F1A-4BB3-89E0-A74F1E1B098D}"/>
              </a:ext>
            </a:extLst>
          </p:cNvPr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557865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EFC2C-8905-46F0-B443-CE905B76BA01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6006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49"/>
            <a:ext cx="3300984" cy="764783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768112"/>
            <a:ext cx="3300984" cy="302308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76478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768110"/>
            <a:ext cx="3300984" cy="302308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79DC3-C9B5-499E-9140-0DC28B7074E2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608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>
            <a:extLst>
              <a:ext uri="{FF2B5EF4-FFF2-40B4-BE49-F238E27FC236}">
                <a16:creationId xmlns:a16="http://schemas.microsoft.com/office/drawing/2014/main" id="{7E87C569-D426-4615-ADA7-B370EA9834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>
            <a:extLst>
              <a:ext uri="{FF2B5EF4-FFF2-40B4-BE49-F238E27FC236}">
                <a16:creationId xmlns:a16="http://schemas.microsoft.com/office/drawing/2014/main" id="{7B353ED4-7AD0-46C9-88ED-1A16B1433A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>
            <a:extLst>
              <a:ext uri="{FF2B5EF4-FFF2-40B4-BE49-F238E27FC236}">
                <a16:creationId xmlns:a16="http://schemas.microsoft.com/office/drawing/2014/main" id="{F561D985-AD57-459A-B3A6-EBF296039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572443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572442"/>
            <a:ext cx="3300984" cy="121875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B33EA-E472-4D22-9C03-A9C14AA21CED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64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E833E-1B6D-415F-AD29-75AE8C43BD0D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734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2596F-08A7-4B70-989A-F2B1CF31E66B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569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55A3C-5767-4844-A0A3-83778C2E5409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88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763439"/>
            <a:ext cx="9590550" cy="133349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507A8-A5CF-4D38-AB86-7EDDA87A85D4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045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618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76450"/>
            <a:ext cx="4856841" cy="362267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0716" y="2076451"/>
            <a:ext cx="4856841" cy="3622672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CD27C-8599-43EF-BA1D-14DDC1946E06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245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>
            <a:extLst>
              <a:ext uri="{FF2B5EF4-FFF2-40B4-BE49-F238E27FC236}">
                <a16:creationId xmlns:a16="http://schemas.microsoft.com/office/drawing/2014/main" id="{37B721FF-D609-4D98-9D19-CF75AA8A5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29200" cy="4099959"/>
          </a:xfrm>
          <a:prstGeom prst="rect">
            <a:avLst/>
          </a:prstGeom>
        </p:spPr>
      </p:pic>
      <p:pic>
        <p:nvPicPr>
          <p:cNvPr id="21" name="Picture 20" descr="Slate-V2-HD-compPhotoInset.png">
            <a:extLst>
              <a:ext uri="{FF2B5EF4-FFF2-40B4-BE49-F238E27FC236}">
                <a16:creationId xmlns:a16="http://schemas.microsoft.com/office/drawing/2014/main" id="{073936BD-C868-433F-8E84-D6DD8E640E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357" y="1734506"/>
            <a:ext cx="5029200" cy="40999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6013" y="1855153"/>
            <a:ext cx="4764764" cy="69249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6013" y="2702103"/>
            <a:ext cx="4764764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3166" y="1855152"/>
            <a:ext cx="4779582" cy="69249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3167" y="2702103"/>
            <a:ext cx="4779581" cy="304353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343D99-809A-49C0-96E5-4250D0B498EE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019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3DE9B-B678-4EFB-BB7D-A4370204A0B0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033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812DA-F765-4142-A6A3-A8ED7235E082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642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08000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673351"/>
            <a:ext cx="3706889" cy="301625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77FD-7DE6-41D4-930D-AC99F5AFE54E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16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>
            <a:extLst>
              <a:ext uri="{FF2B5EF4-FFF2-40B4-BE49-F238E27FC236}">
                <a16:creationId xmlns:a16="http://schemas.microsoft.com/office/drawing/2014/main" id="{4D06E496-ACBA-4063-B4A1-C5C484EE5A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763701"/>
            <a:ext cx="5707899" cy="1675559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73698" y="2679699"/>
            <a:ext cx="4588094" cy="3135695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15526-7079-4B7B-987C-1B5FAE11A0FF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46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D892B1-B075-42DF-B040-4280976949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54408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25730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76450"/>
            <a:ext cx="10353762" cy="3714749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60007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073ED0CC-082F-4160-86E5-0D6041F12778}" type="datetime1">
              <a:rPr lang="en-US" smtClean="0"/>
              <a:t>11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6000749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6000749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2514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5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sldNum="0"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sz="4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>
            <a:duotone>
              <a:schemeClr val="bg1">
                <a:shade val="80000"/>
                <a:lumMod val="80000"/>
              </a:schemeClr>
              <a:schemeClr val="bg1">
                <a:tint val="98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20805A-EBB8-4509-83DE-33E97F82E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14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D32A07D-C646-4CC0-BA93-76707E707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EB4D0D-F8B3-4656-B289-08905F3B0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37703" y="835383"/>
            <a:ext cx="4091802" cy="3499549"/>
          </a:xfrm>
        </p:spPr>
        <p:txBody>
          <a:bodyPr vert="horz">
            <a:normAutofit/>
          </a:bodyPr>
          <a:lstStyle/>
          <a:p>
            <a:pPr algn="l"/>
            <a:r>
              <a:rPr lang="en-US" sz="4200" b="1" dirty="0"/>
              <a:t>Mid-Bootcamp 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17D70B-E805-4751-BE17-C663808C95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37454" y="4334933"/>
            <a:ext cx="4091803" cy="1185333"/>
          </a:xfrm>
        </p:spPr>
        <p:txBody>
          <a:bodyPr>
            <a:normAutofit/>
          </a:bodyPr>
          <a:lstStyle/>
          <a:p>
            <a:pPr algn="l"/>
            <a:r>
              <a:rPr lang="en-US" b="1" dirty="0">
                <a:solidFill>
                  <a:srgbClr val="D55B17"/>
                </a:solidFill>
              </a:rPr>
              <a:t>Case study: Regression</a:t>
            </a:r>
          </a:p>
          <a:p>
            <a:pPr algn="l"/>
            <a:r>
              <a:rPr lang="en-US" dirty="0">
                <a:solidFill>
                  <a:srgbClr val="D55B17"/>
                </a:solidFill>
              </a:rPr>
              <a:t>Joan </a:t>
            </a:r>
            <a:r>
              <a:rPr lang="en-US" dirty="0" err="1">
                <a:solidFill>
                  <a:srgbClr val="D55B17"/>
                </a:solidFill>
              </a:rPr>
              <a:t>Viladomiu</a:t>
            </a:r>
            <a:r>
              <a:rPr lang="en-US" dirty="0">
                <a:solidFill>
                  <a:srgbClr val="D55B17"/>
                </a:solidFill>
              </a:rPr>
              <a:t> &amp; Enric Mus</a:t>
            </a:r>
          </a:p>
        </p:txBody>
      </p:sp>
      <p:pic>
        <p:nvPicPr>
          <p:cNvPr id="4" name="Picture 3" descr="The colorful explosion of powder on a black background">
            <a:extLst>
              <a:ext uri="{FF2B5EF4-FFF2-40B4-BE49-F238E27FC236}">
                <a16:creationId xmlns:a16="http://schemas.microsoft.com/office/drawing/2014/main" id="{ED826D1A-25CA-1686-8915-690513C6ECC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732" r="6902" b="-1"/>
          <a:stretch/>
        </p:blipFill>
        <p:spPr>
          <a:xfrm>
            <a:off x="-1" y="10"/>
            <a:ext cx="7537704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5398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8642B7-DC06-4362-8366-64FC3DE4D2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94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0372D-7E98-40D0-9F5A-DA076C8EC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b="1" dirty="0"/>
              <a:t>Diagrama de Gantt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B91FFB50-2EEF-4A89-A2DF-7F428444E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689550"/>
              </p:ext>
            </p:extLst>
          </p:nvPr>
        </p:nvGraphicFramePr>
        <p:xfrm>
          <a:off x="913796" y="2003366"/>
          <a:ext cx="10353764" cy="402096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37469">
                  <a:extLst>
                    <a:ext uri="{9D8B030D-6E8A-4147-A177-3AD203B41FA5}">
                      <a16:colId xmlns:a16="http://schemas.microsoft.com/office/drawing/2014/main" val="2313501743"/>
                    </a:ext>
                  </a:extLst>
                </a:gridCol>
                <a:gridCol w="1884107">
                  <a:extLst>
                    <a:ext uri="{9D8B030D-6E8A-4147-A177-3AD203B41FA5}">
                      <a16:colId xmlns:a16="http://schemas.microsoft.com/office/drawing/2014/main" val="3696249507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081789454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778933283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1509565459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2667494189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3088948440"/>
                    </a:ext>
                  </a:extLst>
                </a:gridCol>
                <a:gridCol w="1088698">
                  <a:extLst>
                    <a:ext uri="{9D8B030D-6E8A-4147-A177-3AD203B41FA5}">
                      <a16:colId xmlns:a16="http://schemas.microsoft.com/office/drawing/2014/main" val="3989045809"/>
                    </a:ext>
                  </a:extLst>
                </a:gridCol>
              </a:tblGrid>
              <a:tr h="534411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 dirty="0" err="1"/>
                        <a:t>Question</a:t>
                      </a:r>
                      <a:r>
                        <a:rPr lang="es-ES" dirty="0"/>
                        <a:t> </a:t>
                      </a:r>
                      <a:r>
                        <a:rPr lang="es-ES" dirty="0" err="1"/>
                        <a:t>number</a:t>
                      </a:r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1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2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3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4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5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/>
                        <a:t>Day 6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644855"/>
                  </a:ext>
                </a:extLst>
              </a:tr>
              <a:tr h="534411">
                <a:tc rowSpan="2">
                  <a:txBody>
                    <a:bodyPr/>
                    <a:lstStyle/>
                    <a:p>
                      <a:pPr algn="ctr"/>
                      <a:r>
                        <a:rPr lang="es-ES" sz="1600"/>
                        <a:t>Sql Questions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200" dirty="0"/>
                        <a:t>1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946517"/>
                  </a:ext>
                </a:extLst>
              </a:tr>
              <a:tr h="534411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/>
                        <a:t>11-17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3587384"/>
                  </a:ext>
                </a:extLst>
              </a:tr>
              <a:tr h="656154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err="1"/>
                        <a:t>PowerBi</a:t>
                      </a:r>
                      <a:r>
                        <a:rPr lang="es-ES" sz="1600" dirty="0"/>
                        <a:t> </a:t>
                      </a:r>
                      <a:r>
                        <a:rPr lang="es-ES" sz="1600" dirty="0" err="1"/>
                        <a:t>Questions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1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684051"/>
                  </a:ext>
                </a:extLst>
              </a:tr>
              <a:tr h="587085">
                <a:tc rowSpan="2">
                  <a:txBody>
                    <a:bodyPr/>
                    <a:lstStyle/>
                    <a:p>
                      <a:pPr algn="ctr"/>
                      <a:r>
                        <a:rPr lang="es-ES" sz="1600"/>
                        <a:t>Python regression model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1-5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0916482"/>
                  </a:ext>
                </a:extLst>
              </a:tr>
              <a:tr h="534411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/>
                        <a:t>5-10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812131"/>
                  </a:ext>
                </a:extLst>
              </a:tr>
              <a:tr h="53441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err="1"/>
                        <a:t>Presentation</a:t>
                      </a:r>
                      <a:endParaRPr lang="es-ES" sz="1600" dirty="0"/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058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6891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lateVTI">
  <a:themeElements>
    <a:clrScheme name="AnalogousFromRegularSeed_2SEEDS">
      <a:dk1>
        <a:srgbClr val="000000"/>
      </a:dk1>
      <a:lt1>
        <a:srgbClr val="FFFFFF"/>
      </a:lt1>
      <a:dk2>
        <a:srgbClr val="32271C"/>
      </a:dk2>
      <a:lt2>
        <a:srgbClr val="F0F2F3"/>
      </a:lt2>
      <a:accent1>
        <a:srgbClr val="D55B17"/>
      </a:accent1>
      <a:accent2>
        <a:srgbClr val="E72935"/>
      </a:accent2>
      <a:accent3>
        <a:srgbClr val="C39F23"/>
      </a:accent3>
      <a:accent4>
        <a:srgbClr val="13B3AD"/>
      </a:accent4>
      <a:accent5>
        <a:srgbClr val="299FE7"/>
      </a:accent5>
      <a:accent6>
        <a:srgbClr val="2247D7"/>
      </a:accent6>
      <a:hlink>
        <a:srgbClr val="3F91BF"/>
      </a:hlink>
      <a:folHlink>
        <a:srgbClr val="7F7F7F"/>
      </a:folHlink>
    </a:clrScheme>
    <a:fontScheme name="Slate">
      <a:majorFont>
        <a:latin typeface="Gill Sans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ill Sans MT" panose="02040603050505030304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at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0000"/>
                <a:lumMod val="90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hardEdge"/>
          </a:sp3d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ateVTI" id="{35C4A07C-0176-4A32-9BCB-B016516853F0}" vid="{9B70D35C-BCA8-4715-BB49-8BE54A7FC07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41</Words>
  <Application>Microsoft Office PowerPoint</Application>
  <PresentationFormat>Widescreen</PresentationFormat>
  <Paragraphs>2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Gill Sans MT</vt:lpstr>
      <vt:lpstr>Wingdings 2</vt:lpstr>
      <vt:lpstr>SlateVTI</vt:lpstr>
      <vt:lpstr>think-cell Slide</vt:lpstr>
      <vt:lpstr>Mid-Bootcamp project</vt:lpstr>
      <vt:lpstr>Diagrama de Gant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d-Bootcamp project</dc:title>
  <dc:creator>Enric Mus Catala</dc:creator>
  <cp:lastModifiedBy>Enric Mus Catala</cp:lastModifiedBy>
  <cp:revision>4</cp:revision>
  <dcterms:created xsi:type="dcterms:W3CDTF">2022-11-15T17:29:42Z</dcterms:created>
  <dcterms:modified xsi:type="dcterms:W3CDTF">2022-11-15T18:07:58Z</dcterms:modified>
</cp:coreProperties>
</file>